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9" r:id="rId4"/>
    <p:sldId id="261" r:id="rId5"/>
    <p:sldId id="263" r:id="rId6"/>
    <p:sldId id="262" r:id="rId7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012" y="609601"/>
            <a:ext cx="8676222" cy="3200400"/>
          </a:xfrm>
        </p:spPr>
        <p:txBody>
          <a:bodyPr anchor="b">
            <a:normAutofit/>
          </a:bodyPr>
          <a:lstStyle>
            <a:lvl1pPr algn="ctr">
              <a:defRPr sz="4800"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76222" cy="1905000"/>
          </a:xfrm>
        </p:spPr>
        <p:txBody>
          <a:bodyPr anchor="t">
            <a:normAutofit/>
          </a:bodyPr>
          <a:lstStyle>
            <a:lvl1pPr marL="0" indent="0" algn="ctr">
              <a:buNone/>
              <a:defRPr sz="21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2161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4732865"/>
            <a:ext cx="99060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979612" y="932112"/>
            <a:ext cx="8225944" cy="316497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3" y="5299603"/>
            <a:ext cx="9906000" cy="493712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9207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3124199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4001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836612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609601"/>
            <a:ext cx="9296398" cy="2743199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674812" y="3352800"/>
            <a:ext cx="8839202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buNone/>
              <a:defRPr lang="en-US"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8101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3308581"/>
            <a:ext cx="9906000" cy="14688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0" y="4777381"/>
            <a:ext cx="9906001" cy="860400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4946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836612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609601"/>
            <a:ext cx="9296398" cy="2743199"/>
          </a:xfrm>
        </p:spPr>
        <p:txBody>
          <a:bodyPr anchor="ctr">
            <a:normAutofit/>
          </a:bodyPr>
          <a:lstStyle>
            <a:lvl1pPr algn="l">
              <a:defRPr sz="32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41412" y="3886200"/>
            <a:ext cx="9906000" cy="889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775200"/>
            <a:ext cx="9906000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2088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2743199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41412" y="3505200"/>
            <a:ext cx="99060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4267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9624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609599"/>
            <a:ext cx="2210514" cy="51816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1412" y="609600"/>
            <a:ext cx="7543800" cy="518160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544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03623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1013" y="3308581"/>
            <a:ext cx="8686800" cy="1468800"/>
          </a:xfrm>
        </p:spPr>
        <p:txBody>
          <a:bodyPr anchor="b"/>
          <a:lstStyle>
            <a:lvl1pPr algn="r">
              <a:defRPr sz="40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1011" y="4777381"/>
            <a:ext cx="8686801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20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1412" y="2666999"/>
            <a:ext cx="4876800" cy="312420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0612" y="2667000"/>
            <a:ext cx="4876800" cy="3124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0833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29280" y="2658533"/>
            <a:ext cx="4588931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1412" y="3243262"/>
            <a:ext cx="4876800" cy="2547937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43133" y="2667000"/>
            <a:ext cx="4604280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0612" y="3243262"/>
            <a:ext cx="4876801" cy="2547937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3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567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3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2159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3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9225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600200"/>
            <a:ext cx="3549121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3812" y="609601"/>
            <a:ext cx="5943601" cy="51816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2971800"/>
            <a:ext cx="3549121" cy="18288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7658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600200"/>
            <a:ext cx="5334001" cy="13716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33733" y="-18288"/>
            <a:ext cx="3276599" cy="6903720"/>
          </a:xfr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080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2971800"/>
            <a:ext cx="5334001" cy="18288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399212" y="5883275"/>
            <a:ext cx="914400" cy="365125"/>
          </a:xfrm>
        </p:spPr>
        <p:txBody>
          <a:bodyPr/>
          <a:lstStyle/>
          <a:p>
            <a:fld id="{3E15F4ED-4AA3-4EBF-8095-BB384D683934}" type="datetimeFigureOut">
              <a:rPr lang="en-US" smtClean="0"/>
              <a:t>12/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41412" y="5883275"/>
            <a:ext cx="51054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742612" y="5883275"/>
            <a:ext cx="322567" cy="365125"/>
          </a:xfrm>
        </p:spPr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284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FBCC7C1-97D7-4F56-A40E-144F737AB7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970010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3" y="2666999"/>
            <a:ext cx="9905998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37612" y="588327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3E15F4ED-4AA3-4EBF-8095-BB384D683934}" type="datetimeFigureOut">
              <a:rPr lang="en-US" smtClean="0"/>
              <a:t>12/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1412" y="5883275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2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4577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200" kern="1200" cap="all">
          <a:ln w="3175" cmpd="sng">
            <a:noFill/>
          </a:ln>
          <a:gradFill flip="none" rotWithShape="1">
            <a:gsLst>
              <a:gs pos="0">
                <a:schemeClr val="tx1"/>
              </a:gs>
              <a:gs pos="100000">
                <a:schemeClr val="tx1">
                  <a:lumMod val="6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20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8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6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4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4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DC88DF8-DDE7-4F51-9008-AE9EEF4843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97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DFCCDB-249A-4AA9-A361-3BAAF14ECA9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anchor="ctr"/>
          <a:lstStyle/>
          <a:p>
            <a:pPr algn="l"/>
            <a:r>
              <a:rPr lang="en-US" b="1" dirty="0"/>
              <a:t>Lending Club case stud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8A1FCF-E7D4-47B2-A3B4-2F3267172C0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anchor="ctr"/>
          <a:lstStyle/>
          <a:p>
            <a:pPr algn="r"/>
            <a:r>
              <a:rPr lang="en-US" dirty="0"/>
              <a:t>Submitted by: Prasad &amp; Jitesh</a:t>
            </a:r>
          </a:p>
        </p:txBody>
      </p:sp>
    </p:spTree>
    <p:extLst>
      <p:ext uri="{BB962C8B-B14F-4D97-AF65-F5344CB8AC3E}">
        <p14:creationId xmlns:p14="http://schemas.microsoft.com/office/powerpoint/2010/main" val="18586090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1031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/>
          <a:lstStyle/>
          <a:p>
            <a:r>
              <a:rPr lang="en-US" dirty="0"/>
              <a:t>Case Study 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1413" y="1296140"/>
            <a:ext cx="9905998" cy="4495061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uilt understanding of the objective, different features and  their data types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ddressed the data quality issues including missing values, outliers and redundant features 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Univariate analysis of categorial and continuous variables and their relationship with loan status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erived new features from the data as per the domain understanding 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ivariate analysis and segmented analysis to understand the relationship between different features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dentified significant metrics in identifying default</a:t>
            </a:r>
          </a:p>
        </p:txBody>
      </p:sp>
    </p:spTree>
    <p:extLst>
      <p:ext uri="{BB962C8B-B14F-4D97-AF65-F5344CB8AC3E}">
        <p14:creationId xmlns:p14="http://schemas.microsoft.com/office/powerpoint/2010/main" val="3963955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3655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/>
          <a:lstStyle/>
          <a:p>
            <a:r>
              <a:rPr lang="en-US" dirty="0"/>
              <a:t>Data Cleaning and manipul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1413" y="1296140"/>
            <a:ext cx="9905998" cy="4495061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ropped the features which have very low fill rate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nverted the data types of the features as per relevance</a:t>
            </a:r>
          </a:p>
          <a:p>
            <a:pPr lvl="1">
              <a:buFontTx/>
              <a:buChar char="-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nterest rate and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revol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util to float from object</a:t>
            </a:r>
          </a:p>
          <a:p>
            <a:pPr lvl="1">
              <a:buFontTx/>
              <a:buChar char="-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 fields to date from object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issing value imputations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13727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3879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/>
          <a:lstStyle/>
          <a:p>
            <a:r>
              <a:rPr lang="en-US" dirty="0"/>
              <a:t>Univariate Analy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1413" y="1296140"/>
            <a:ext cx="4833259" cy="4495061"/>
          </a:xfrm>
          <a:ln>
            <a:solidFill>
              <a:schemeClr val="bg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ategorical Variables</a:t>
            </a:r>
          </a:p>
          <a:p>
            <a:pPr marL="0" indent="0">
              <a:buNone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- 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510E17F-0FC4-4ADA-B2FE-9910726E4BFE}"/>
              </a:ext>
            </a:extLst>
          </p:cNvPr>
          <p:cNvSpPr txBox="1">
            <a:spLocks/>
          </p:cNvSpPr>
          <p:nvPr/>
        </p:nvSpPr>
        <p:spPr>
          <a:xfrm>
            <a:off x="6333892" y="1296140"/>
            <a:ext cx="4833259" cy="4495061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•"/>
              <a:defRPr sz="2000" kern="1200" cap="sm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580000" scaled="0"/>
                  <a:tileRect/>
                </a:gra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•"/>
              <a:defRPr sz="1800" kern="1200" cap="sm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580000" scaled="0"/>
                  <a:tileRect/>
                </a:gra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•"/>
              <a:defRPr sz="1600" kern="1200" cap="sm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580000" scaled="0"/>
                  <a:tileRect/>
                </a:gra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•"/>
              <a:defRPr sz="1400" kern="1200" cap="sm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580000" scaled="0"/>
                  <a:tileRect/>
                </a:gra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•"/>
              <a:defRPr sz="1400" kern="1200" cap="sm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580000" scaled="0"/>
                  <a:tileRect/>
                </a:gra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•"/>
              <a:defRPr sz="1200" kern="1200" cap="sm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580000" scaled="0"/>
                  <a:tileRect/>
                </a:gra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•"/>
              <a:defRPr sz="1200" kern="1200" cap="sm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580000" scaled="0"/>
                  <a:tileRect/>
                </a:gra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•"/>
              <a:defRPr sz="1200" kern="1200" cap="sm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580000" scaled="0"/>
                  <a:tileRect/>
                </a:gra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•"/>
              <a:defRPr sz="1200" kern="1200" cap="sm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580000" scaled="0"/>
                  <a:tileRect/>
                </a:gra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ntinuous variables</a:t>
            </a:r>
          </a:p>
          <a:p>
            <a:pPr marL="0" indent="0">
              <a:buFont typeface="Arial"/>
              <a:buNone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- </a:t>
            </a:r>
          </a:p>
        </p:txBody>
      </p:sp>
    </p:spTree>
    <p:extLst>
      <p:ext uri="{BB962C8B-B14F-4D97-AF65-F5344CB8AC3E}">
        <p14:creationId xmlns:p14="http://schemas.microsoft.com/office/powerpoint/2010/main" val="20147139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/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1413" y="1296140"/>
            <a:ext cx="9905998" cy="4495061"/>
          </a:xfrm>
        </p:spPr>
        <p:txBody>
          <a:bodyPr/>
          <a:lstStyle/>
          <a:p>
            <a:pPr marL="0" indent="0">
              <a:buNone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09697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/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1413" y="1296140"/>
            <a:ext cx="9905998" cy="4495061"/>
          </a:xfrm>
        </p:spPr>
        <p:txBody>
          <a:bodyPr/>
          <a:lstStyle/>
          <a:p>
            <a:pPr marL="0" indent="0">
              <a:buNone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22716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sh">
  <a:themeElements>
    <a:clrScheme name="Mesh">
      <a:dk1>
        <a:sysClr val="windowText" lastClr="000000"/>
      </a:dk1>
      <a:lt1>
        <a:sysClr val="window" lastClr="FFFFFF"/>
      </a:lt1>
      <a:dk2>
        <a:srgbClr val="363D46"/>
      </a:dk2>
      <a:lt2>
        <a:srgbClr val="EBEBEB"/>
      </a:lt2>
      <a:accent1>
        <a:srgbClr val="6F6F6F"/>
      </a:accent1>
      <a:accent2>
        <a:srgbClr val="BFBFA5"/>
      </a:accent2>
      <a:accent3>
        <a:srgbClr val="DCD084"/>
      </a:accent3>
      <a:accent4>
        <a:srgbClr val="E7BF5F"/>
      </a:accent4>
      <a:accent5>
        <a:srgbClr val="E9A039"/>
      </a:accent5>
      <a:accent6>
        <a:srgbClr val="CF7133"/>
      </a:accent6>
      <a:hlink>
        <a:srgbClr val="F28943"/>
      </a:hlink>
      <a:folHlink>
        <a:srgbClr val="F1B76C"/>
      </a:folHlink>
    </a:clrScheme>
    <a:fontScheme name="Mesh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Mesh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sh" id="{789EC3FE-34FD-429C-9918-760025E6C145}" vid="{B8BE45C0-8141-4D58-8C71-A009BC26FBB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85[[fn=Mesh]]</Template>
  <TotalTime>384</TotalTime>
  <Words>129</Words>
  <Application>Microsoft Office PowerPoint</Application>
  <PresentationFormat>Widescreen</PresentationFormat>
  <Paragraphs>20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Century Gothic</vt:lpstr>
      <vt:lpstr>Mesh</vt:lpstr>
      <vt:lpstr>think-cell Slide</vt:lpstr>
      <vt:lpstr>Lending Club case study</vt:lpstr>
      <vt:lpstr>Case Study Summary</vt:lpstr>
      <vt:lpstr>Data Cleaning and manipulation</vt:lpstr>
      <vt:lpstr>Univariate Analysi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nding Club case study</dc:title>
  <dc:creator>Singla, Jitesh</dc:creator>
  <cp:lastModifiedBy>Singla, Jitesh</cp:lastModifiedBy>
  <cp:revision>1</cp:revision>
  <dcterms:created xsi:type="dcterms:W3CDTF">2022-12-03T12:47:04Z</dcterms:created>
  <dcterms:modified xsi:type="dcterms:W3CDTF">2022-12-03T19:11:33Z</dcterms:modified>
</cp:coreProperties>
</file>